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7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709" r:id="rId3"/>
    <p:sldMasterId id="2147483722" r:id="rId4"/>
    <p:sldMasterId id="2147483748" r:id="rId5"/>
    <p:sldMasterId id="2147483760" r:id="rId6"/>
    <p:sldMasterId id="2147483806" r:id="rId7"/>
    <p:sldMasterId id="2147483858" r:id="rId8"/>
    <p:sldMasterId id="2147483910" r:id="rId9"/>
  </p:sldMasterIdLst>
  <p:notesMasterIdLst>
    <p:notesMasterId r:id="rId12"/>
  </p:notesMasterIdLst>
  <p:handoutMasterIdLst>
    <p:handoutMasterId r:id="rId13"/>
  </p:handoutMasterIdLst>
  <p:sldIdLst>
    <p:sldId id="594" r:id="rId10"/>
    <p:sldId id="592" r:id="rId11"/>
  </p:sldIdLst>
  <p:sldSz cx="9144000" cy="6858000" type="screen4x3"/>
  <p:notesSz cx="7077075" cy="9363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orient="horz" pos="504" userDrawn="1">
          <p15:clr>
            <a:srgbClr val="A4A3A4"/>
          </p15:clr>
        </p15:guide>
        <p15:guide id="5" pos="5616" userDrawn="1">
          <p15:clr>
            <a:srgbClr val="A4A3A4"/>
          </p15:clr>
        </p15:guide>
        <p15:guide id="6" orient="horz" pos="3888" userDrawn="1">
          <p15:clr>
            <a:srgbClr val="A4A3A4"/>
          </p15:clr>
        </p15:guide>
        <p15:guide id="7" orient="horz" pos="360" userDrawn="1">
          <p15:clr>
            <a:srgbClr val="A4A3A4"/>
          </p15:clr>
        </p15:guide>
        <p15:guide id="8" pos="96" userDrawn="1">
          <p15:clr>
            <a:srgbClr val="A4A3A4"/>
          </p15:clr>
        </p15:guide>
        <p15:guide id="9" orient="horz" pos="41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nos Panidis" initials="PP" lastIdx="6" clrIdx="0"/>
  <p:cmAuthor id="2" name="ppanidis" initials="p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64"/>
    <a:srgbClr val="006840"/>
    <a:srgbClr val="00925A"/>
    <a:srgbClr val="E7E8EF"/>
    <a:srgbClr val="B9FFE4"/>
    <a:srgbClr val="00C077"/>
    <a:srgbClr val="4EFFBB"/>
    <a:srgbClr val="302C58"/>
    <a:srgbClr val="C0AE00"/>
    <a:srgbClr val="001D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1285" autoAdjust="0"/>
    <p:restoredTop sz="96357" autoAdjust="0"/>
  </p:normalViewPr>
  <p:slideViewPr>
    <p:cSldViewPr snapToGrid="0" snapToObjects="1">
      <p:cViewPr varScale="1">
        <p:scale>
          <a:sx n="79" d="100"/>
          <a:sy n="79" d="100"/>
        </p:scale>
        <p:origin x="264" y="968"/>
      </p:cViewPr>
      <p:guideLst>
        <p:guide orient="horz" pos="384"/>
        <p:guide pos="336"/>
        <p:guide orient="horz" pos="504"/>
        <p:guide pos="5616"/>
        <p:guide orient="horz" pos="3888"/>
        <p:guide orient="horz" pos="360"/>
        <p:guide pos="96"/>
        <p:guide orient="horz" pos="413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5" d="100"/>
          <a:sy n="55" d="100"/>
        </p:scale>
        <p:origin x="-2820" y="-7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almanco/Downloads/MedTron_vSFdatase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almanco/Downloads/MedTron_vSFdatase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almanco/Downloads/MedTron_vSFdatase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almanco/Downloads/MedTron_vSFdatase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edTron_vSFdataset.xlsx]3_4_YoY Chart Growth Chart!PivotTable5</c:name>
    <c:fmtId val="3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0616315101080592"/>
          <c:y val="4.3564356435643561E-2"/>
          <c:w val="0.7817528586727468"/>
          <c:h val="0.775081489661109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3_4_YoY Chart Growth Chart'!$B$3</c:f>
              <c:strCache>
                <c:ptCount val="1"/>
                <c:pt idx="0">
                  <c:v> 2020 Net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3_4_YoY Chart Growth Chart'!$A$4:$A$8</c:f>
              <c:strCache>
                <c:ptCount val="4"/>
                <c:pt idx="0">
                  <c:v>Central</c:v>
                </c:pt>
                <c:pt idx="1">
                  <c:v>Northeast</c:v>
                </c:pt>
                <c:pt idx="2">
                  <c:v>Southeast</c:v>
                </c:pt>
                <c:pt idx="3">
                  <c:v>West</c:v>
                </c:pt>
              </c:strCache>
            </c:strRef>
          </c:cat>
          <c:val>
            <c:numRef>
              <c:f>'3_4_YoY Chart Growth Chart'!$B$4:$B$8</c:f>
              <c:numCache>
                <c:formatCode>\$#0.0,,"M";\(\$#0.0,,"M"\);"-"</c:formatCode>
                <c:ptCount val="4"/>
                <c:pt idx="0">
                  <c:v>290348796.81055313</c:v>
                </c:pt>
                <c:pt idx="1">
                  <c:v>96121455.655852571</c:v>
                </c:pt>
                <c:pt idx="2">
                  <c:v>118297205.77282003</c:v>
                </c:pt>
                <c:pt idx="3">
                  <c:v>46295248.209952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D3-9F4F-A67E-C434E67BEAC7}"/>
            </c:ext>
          </c:extLst>
        </c:ser>
        <c:ser>
          <c:idx val="1"/>
          <c:order val="1"/>
          <c:tx>
            <c:strRef>
              <c:f>'3_4_YoY Chart Growth Chart'!$C$3</c:f>
              <c:strCache>
                <c:ptCount val="1"/>
                <c:pt idx="0">
                  <c:v> 2019 Net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3_4_YoY Chart Growth Chart'!$A$4:$A$8</c:f>
              <c:strCache>
                <c:ptCount val="4"/>
                <c:pt idx="0">
                  <c:v>Central</c:v>
                </c:pt>
                <c:pt idx="1">
                  <c:v>Northeast</c:v>
                </c:pt>
                <c:pt idx="2">
                  <c:v>Southeast</c:v>
                </c:pt>
                <c:pt idx="3">
                  <c:v>West</c:v>
                </c:pt>
              </c:strCache>
            </c:strRef>
          </c:cat>
          <c:val>
            <c:numRef>
              <c:f>'3_4_YoY Chart Growth Chart'!$C$4:$C$8</c:f>
              <c:numCache>
                <c:formatCode>\$#0.0,,"M";\(\$#0.0,,"M"\);"-"</c:formatCode>
                <c:ptCount val="4"/>
                <c:pt idx="0">
                  <c:v>26987332.3204</c:v>
                </c:pt>
                <c:pt idx="1">
                  <c:v>148289965.20214999</c:v>
                </c:pt>
                <c:pt idx="2">
                  <c:v>53312129.692000017</c:v>
                </c:pt>
                <c:pt idx="3">
                  <c:v>57869060.26244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D3-9F4F-A67E-C434E67BEA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52619439"/>
        <c:axId val="821957583"/>
      </c:barChart>
      <c:catAx>
        <c:axId val="852619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821957583"/>
        <c:crosses val="autoZero"/>
        <c:auto val="1"/>
        <c:lblAlgn val="ctr"/>
        <c:lblOffset val="100"/>
        <c:noMultiLvlLbl val="0"/>
      </c:catAx>
      <c:valAx>
        <c:axId val="821957583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0.0,,&quot;M&quot;;\(\$#0.0,,&quot;M&quot;\);&quot;-&quot;" sourceLinked="1"/>
        <c:majorTickMark val="none"/>
        <c:minorTickMark val="none"/>
        <c:tickLblPos val="nextTo"/>
        <c:crossAx val="852619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7987306770600171"/>
          <c:y val="4.9640008234264836E-2"/>
          <c:w val="0.29045123445005894"/>
          <c:h val="0.115649578501546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edTron_vSFdataset.xlsx]3_4_YoY Chart Growth Chart!PivotTable6</c:name>
    <c:fmtId val="7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3_4_YoY Chart Growth Chart'!$B$26:$B$27</c:f>
              <c:strCache>
                <c:ptCount val="1"/>
                <c:pt idx="0">
                  <c:v>Priv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3_4_YoY Chart Growth Chart'!$A$28:$A$44</c:f>
              <c:multiLvlStrCache>
                <c:ptCount val="14"/>
                <c:lvl>
                  <c:pt idx="0">
                    <c:v>WI</c:v>
                  </c:pt>
                  <c:pt idx="1">
                    <c:v>MO</c:v>
                  </c:pt>
                  <c:pt idx="2">
                    <c:v>MN</c:v>
                  </c:pt>
                  <c:pt idx="3">
                    <c:v>CO</c:v>
                  </c:pt>
                  <c:pt idx="4">
                    <c:v>ND</c:v>
                  </c:pt>
                  <c:pt idx="5">
                    <c:v>TX</c:v>
                  </c:pt>
                  <c:pt idx="6">
                    <c:v>MT</c:v>
                  </c:pt>
                  <c:pt idx="7">
                    <c:v>WY</c:v>
                  </c:pt>
                  <c:pt idx="8">
                    <c:v>FL</c:v>
                  </c:pt>
                  <c:pt idx="9">
                    <c:v>LA</c:v>
                  </c:pt>
                  <c:pt idx="10">
                    <c:v>GA</c:v>
                  </c:pt>
                  <c:pt idx="11">
                    <c:v>MS</c:v>
                  </c:pt>
                  <c:pt idx="12">
                    <c:v>VA</c:v>
                  </c:pt>
                  <c:pt idx="13">
                    <c:v>SC</c:v>
                  </c:pt>
                </c:lvl>
                <c:lvl>
                  <c:pt idx="0">
                    <c:v>Central</c:v>
                  </c:pt>
                  <c:pt idx="8">
                    <c:v>Southeast</c:v>
                  </c:pt>
                </c:lvl>
              </c:multiLvlStrCache>
            </c:multiLvlStrRef>
          </c:cat>
          <c:val>
            <c:numRef>
              <c:f>'3_4_YoY Chart Growth Chart'!$B$28:$B$44</c:f>
              <c:numCache>
                <c:formatCode>\$#0.0,,"M";\(\$#0.0,,"M"\);"-"</c:formatCode>
                <c:ptCount val="14"/>
                <c:pt idx="0">
                  <c:v>77200005.034217015</c:v>
                </c:pt>
                <c:pt idx="1">
                  <c:v>44820779.748631008</c:v>
                </c:pt>
                <c:pt idx="2">
                  <c:v>15545735.204597</c:v>
                </c:pt>
                <c:pt idx="3">
                  <c:v>17923147.636081003</c:v>
                </c:pt>
                <c:pt idx="4">
                  <c:v>19666983.904742002</c:v>
                </c:pt>
                <c:pt idx="5">
                  <c:v>13972974.655917</c:v>
                </c:pt>
                <c:pt idx="6">
                  <c:v>3433104.1790499999</c:v>
                </c:pt>
                <c:pt idx="8">
                  <c:v>1797610.4712439999</c:v>
                </c:pt>
                <c:pt idx="10">
                  <c:v>1238787.925508</c:v>
                </c:pt>
                <c:pt idx="12">
                  <c:v>519174.974072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EE-1E47-BACF-C34BEF8B68F1}"/>
            </c:ext>
          </c:extLst>
        </c:ser>
        <c:ser>
          <c:idx val="1"/>
          <c:order val="1"/>
          <c:tx>
            <c:strRef>
              <c:f>'3_4_YoY Chart Growth Chart'!$C$26:$C$27</c:f>
              <c:strCache>
                <c:ptCount val="1"/>
                <c:pt idx="0">
                  <c:v>Partnership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3_4_YoY Chart Growth Chart'!$A$28:$A$44</c:f>
              <c:multiLvlStrCache>
                <c:ptCount val="14"/>
                <c:lvl>
                  <c:pt idx="0">
                    <c:v>WI</c:v>
                  </c:pt>
                  <c:pt idx="1">
                    <c:v>MO</c:v>
                  </c:pt>
                  <c:pt idx="2">
                    <c:v>MN</c:v>
                  </c:pt>
                  <c:pt idx="3">
                    <c:v>CO</c:v>
                  </c:pt>
                  <c:pt idx="4">
                    <c:v>ND</c:v>
                  </c:pt>
                  <c:pt idx="5">
                    <c:v>TX</c:v>
                  </c:pt>
                  <c:pt idx="6">
                    <c:v>MT</c:v>
                  </c:pt>
                  <c:pt idx="7">
                    <c:v>WY</c:v>
                  </c:pt>
                  <c:pt idx="8">
                    <c:v>FL</c:v>
                  </c:pt>
                  <c:pt idx="9">
                    <c:v>LA</c:v>
                  </c:pt>
                  <c:pt idx="10">
                    <c:v>GA</c:v>
                  </c:pt>
                  <c:pt idx="11">
                    <c:v>MS</c:v>
                  </c:pt>
                  <c:pt idx="12">
                    <c:v>VA</c:v>
                  </c:pt>
                  <c:pt idx="13">
                    <c:v>SC</c:v>
                  </c:pt>
                </c:lvl>
                <c:lvl>
                  <c:pt idx="0">
                    <c:v>Central</c:v>
                  </c:pt>
                  <c:pt idx="8">
                    <c:v>Southeast</c:v>
                  </c:pt>
                </c:lvl>
              </c:multiLvlStrCache>
            </c:multiLvlStrRef>
          </c:cat>
          <c:val>
            <c:numRef>
              <c:f>'3_4_YoY Chart Growth Chart'!$C$28:$C$44</c:f>
              <c:numCache>
                <c:formatCode>\$#0.0,,"M";\(\$#0.0,,"M"\);"-"</c:formatCode>
                <c:ptCount val="14"/>
                <c:pt idx="0">
                  <c:v>5196417.8587750001</c:v>
                </c:pt>
                <c:pt idx="1">
                  <c:v>4766770.5768599994</c:v>
                </c:pt>
                <c:pt idx="2">
                  <c:v>597557.46831299993</c:v>
                </c:pt>
                <c:pt idx="3">
                  <c:v>757810.38182699995</c:v>
                </c:pt>
                <c:pt idx="4">
                  <c:v>1192393.7450069999</c:v>
                </c:pt>
                <c:pt idx="5">
                  <c:v>2142692.508928</c:v>
                </c:pt>
                <c:pt idx="6">
                  <c:v>2838134.2094629998</c:v>
                </c:pt>
                <c:pt idx="7">
                  <c:v>1426214.3614010001</c:v>
                </c:pt>
                <c:pt idx="8">
                  <c:v>32344557.077900004</c:v>
                </c:pt>
                <c:pt idx="9">
                  <c:v>16524837.581816003</c:v>
                </c:pt>
                <c:pt idx="10">
                  <c:v>4636157.420004</c:v>
                </c:pt>
                <c:pt idx="11">
                  <c:v>2725096.2785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EE-1E47-BACF-C34BEF8B68F1}"/>
            </c:ext>
          </c:extLst>
        </c:ser>
        <c:ser>
          <c:idx val="2"/>
          <c:order val="2"/>
          <c:tx>
            <c:strRef>
              <c:f>'3_4_YoY Chart Growth Chart'!$D$26:$D$27</c:f>
              <c:strCache>
                <c:ptCount val="1"/>
                <c:pt idx="0">
                  <c:v>Academi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'3_4_YoY Chart Growth Chart'!$A$28:$A$44</c:f>
              <c:multiLvlStrCache>
                <c:ptCount val="14"/>
                <c:lvl>
                  <c:pt idx="0">
                    <c:v>WI</c:v>
                  </c:pt>
                  <c:pt idx="1">
                    <c:v>MO</c:v>
                  </c:pt>
                  <c:pt idx="2">
                    <c:v>MN</c:v>
                  </c:pt>
                  <c:pt idx="3">
                    <c:v>CO</c:v>
                  </c:pt>
                  <c:pt idx="4">
                    <c:v>ND</c:v>
                  </c:pt>
                  <c:pt idx="5">
                    <c:v>TX</c:v>
                  </c:pt>
                  <c:pt idx="6">
                    <c:v>MT</c:v>
                  </c:pt>
                  <c:pt idx="7">
                    <c:v>WY</c:v>
                  </c:pt>
                  <c:pt idx="8">
                    <c:v>FL</c:v>
                  </c:pt>
                  <c:pt idx="9">
                    <c:v>LA</c:v>
                  </c:pt>
                  <c:pt idx="10">
                    <c:v>GA</c:v>
                  </c:pt>
                  <c:pt idx="11">
                    <c:v>MS</c:v>
                  </c:pt>
                  <c:pt idx="12">
                    <c:v>VA</c:v>
                  </c:pt>
                  <c:pt idx="13">
                    <c:v>SC</c:v>
                  </c:pt>
                </c:lvl>
                <c:lvl>
                  <c:pt idx="0">
                    <c:v>Central</c:v>
                  </c:pt>
                  <c:pt idx="8">
                    <c:v>Southeast</c:v>
                  </c:pt>
                </c:lvl>
              </c:multiLvlStrCache>
            </c:multiLvlStrRef>
          </c:cat>
          <c:val>
            <c:numRef>
              <c:f>'3_4_YoY Chart Growth Chart'!$D$28:$D$44</c:f>
              <c:numCache>
                <c:formatCode>\$#0.0,,"M";\(\$#0.0,,"M"\);"-"</c:formatCode>
                <c:ptCount val="14"/>
                <c:pt idx="0">
                  <c:v>602143.2926990001</c:v>
                </c:pt>
                <c:pt idx="1">
                  <c:v>566865.54995399981</c:v>
                </c:pt>
                <c:pt idx="2">
                  <c:v>618976.64852400008</c:v>
                </c:pt>
                <c:pt idx="3">
                  <c:v>714565.581503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EE-1E47-BACF-C34BEF8B68F1}"/>
            </c:ext>
          </c:extLst>
        </c:ser>
        <c:ser>
          <c:idx val="3"/>
          <c:order val="3"/>
          <c:tx>
            <c:strRef>
              <c:f>'3_4_YoY Chart Growth Chart'!$E$26:$E$27</c:f>
              <c:strCache>
                <c:ptCount val="1"/>
                <c:pt idx="0">
                  <c:v>Governmen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multiLvlStrRef>
              <c:f>'3_4_YoY Chart Growth Chart'!$A$28:$A$44</c:f>
              <c:multiLvlStrCache>
                <c:ptCount val="14"/>
                <c:lvl>
                  <c:pt idx="0">
                    <c:v>WI</c:v>
                  </c:pt>
                  <c:pt idx="1">
                    <c:v>MO</c:v>
                  </c:pt>
                  <c:pt idx="2">
                    <c:v>MN</c:v>
                  </c:pt>
                  <c:pt idx="3">
                    <c:v>CO</c:v>
                  </c:pt>
                  <c:pt idx="4">
                    <c:v>ND</c:v>
                  </c:pt>
                  <c:pt idx="5">
                    <c:v>TX</c:v>
                  </c:pt>
                  <c:pt idx="6">
                    <c:v>MT</c:v>
                  </c:pt>
                  <c:pt idx="7">
                    <c:v>WY</c:v>
                  </c:pt>
                  <c:pt idx="8">
                    <c:v>FL</c:v>
                  </c:pt>
                  <c:pt idx="9">
                    <c:v>LA</c:v>
                  </c:pt>
                  <c:pt idx="10">
                    <c:v>GA</c:v>
                  </c:pt>
                  <c:pt idx="11">
                    <c:v>MS</c:v>
                  </c:pt>
                  <c:pt idx="12">
                    <c:v>VA</c:v>
                  </c:pt>
                  <c:pt idx="13">
                    <c:v>SC</c:v>
                  </c:pt>
                </c:lvl>
                <c:lvl>
                  <c:pt idx="0">
                    <c:v>Central</c:v>
                  </c:pt>
                  <c:pt idx="8">
                    <c:v>Southeast</c:v>
                  </c:pt>
                </c:lvl>
              </c:multiLvlStrCache>
            </c:multiLvlStrRef>
          </c:cat>
          <c:val>
            <c:numRef>
              <c:f>'3_4_YoY Chart Growth Chart'!$E$28:$E$44</c:f>
              <c:numCache>
                <c:formatCode>\$#0.0,,"M";\(\$#0.0,,"M"\);"-"</c:formatCode>
                <c:ptCount val="14"/>
                <c:pt idx="0">
                  <c:v>7592575.8353639999</c:v>
                </c:pt>
                <c:pt idx="1">
                  <c:v>18922461.716222994</c:v>
                </c:pt>
                <c:pt idx="2">
                  <c:v>7803931.1714400006</c:v>
                </c:pt>
                <c:pt idx="3">
                  <c:v>5143490.2164099989</c:v>
                </c:pt>
                <c:pt idx="4">
                  <c:v>1929543.1397250001</c:v>
                </c:pt>
                <c:pt idx="5">
                  <c:v>4394553.2900629994</c:v>
                </c:pt>
                <c:pt idx="6">
                  <c:v>1433849.6099100001</c:v>
                </c:pt>
                <c:pt idx="7">
                  <c:v>2157786.9645290002</c:v>
                </c:pt>
                <c:pt idx="8">
                  <c:v>230286.62098400004</c:v>
                </c:pt>
                <c:pt idx="9">
                  <c:v>2619637.1011320003</c:v>
                </c:pt>
                <c:pt idx="10">
                  <c:v>1081965.0442319999</c:v>
                </c:pt>
                <c:pt idx="11">
                  <c:v>501268.53786799998</c:v>
                </c:pt>
                <c:pt idx="12">
                  <c:v>163069.51591199992</c:v>
                </c:pt>
                <c:pt idx="13">
                  <c:v>602627.531607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EE-1E47-BACF-C34BEF8B68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100"/>
        <c:axId val="877790607"/>
        <c:axId val="877780319"/>
      </c:barChart>
      <c:catAx>
        <c:axId val="877790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877780319"/>
        <c:crosses val="autoZero"/>
        <c:auto val="1"/>
        <c:lblAlgn val="ctr"/>
        <c:lblOffset val="100"/>
        <c:noMultiLvlLbl val="0"/>
      </c:catAx>
      <c:valAx>
        <c:axId val="87778031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0.0,,&quot;M&quot;;\(\$#0.0,,&quot;M&quot;\);&quot;-&quot;" sourceLinked="1"/>
        <c:majorTickMark val="none"/>
        <c:minorTickMark val="none"/>
        <c:tickLblPos val="nextTo"/>
        <c:crossAx val="877790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edTron_vSFdataset.xlsx]2_Type!PivotTable3</c:name>
    <c:fmtId val="4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'2_Type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F4A-7047-BE05-AF1BC0564E2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F4A-7047-BE05-AF1BC0564E2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F4A-7047-BE05-AF1BC0564E2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F4A-7047-BE05-AF1BC0564E2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F4A-7047-BE05-AF1BC0564E2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F4A-7047-BE05-AF1BC0564E2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F4A-7047-BE05-AF1BC0564E2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F4A-7047-BE05-AF1BC0564E2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F4A-7047-BE05-AF1BC0564E2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F4A-7047-BE05-AF1BC0564E2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_Type'!$A$4:$A$14</c:f>
              <c:strCache>
                <c:ptCount val="10"/>
                <c:pt idx="0">
                  <c:v>CHILDREN</c:v>
                </c:pt>
                <c:pt idx="1">
                  <c:v>CHRONIC DISEASE</c:v>
                </c:pt>
                <c:pt idx="2">
                  <c:v>CRITICAL ACCESS</c:v>
                </c:pt>
                <c:pt idx="3">
                  <c:v>GENERAL ACUTE CARE</c:v>
                </c:pt>
                <c:pt idx="4">
                  <c:v>LONG TERM CARE</c:v>
                </c:pt>
                <c:pt idx="5">
                  <c:v>MILITARY</c:v>
                </c:pt>
                <c:pt idx="6">
                  <c:v>NEAR TERM CARE</c:v>
                </c:pt>
                <c:pt idx="7">
                  <c:v>REHABILITATION</c:v>
                </c:pt>
                <c:pt idx="8">
                  <c:v>SPECIAL</c:v>
                </c:pt>
                <c:pt idx="9">
                  <c:v>WOMEN</c:v>
                </c:pt>
              </c:strCache>
            </c:strRef>
          </c:cat>
          <c:val>
            <c:numRef>
              <c:f>'2_Type'!$B$4:$B$14</c:f>
              <c:numCache>
                <c:formatCode>_([$$-409]* #,##0_);_([$$-409]* \(#,##0\);_([$$-409]* "-"??_);_(@_)</c:formatCode>
                <c:ptCount val="10"/>
                <c:pt idx="0">
                  <c:v>10800717.525960498</c:v>
                </c:pt>
                <c:pt idx="1">
                  <c:v>678378.11907000002</c:v>
                </c:pt>
                <c:pt idx="2">
                  <c:v>77333223.583241016</c:v>
                </c:pt>
                <c:pt idx="3">
                  <c:v>342458382.02964187</c:v>
                </c:pt>
                <c:pt idx="4">
                  <c:v>30903070.982509505</c:v>
                </c:pt>
                <c:pt idx="5">
                  <c:v>8759941.7160240002</c:v>
                </c:pt>
                <c:pt idx="6">
                  <c:v>47104962.595406994</c:v>
                </c:pt>
                <c:pt idx="7">
                  <c:v>27763448.450487003</c:v>
                </c:pt>
                <c:pt idx="8">
                  <c:v>5040851.7096095001</c:v>
                </c:pt>
                <c:pt idx="9">
                  <c:v>219729.7372275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CF4A-7047-BE05-AF1BC0564E2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2300115239871052"/>
          <c:y val="7.7966315045546949E-2"/>
          <c:w val="0.67699884760128948"/>
          <c:h val="0.922033684954453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edTron_vSFdataset.xlsx]2_Owner!PivotTable1</c:name>
    <c:fmtId val="4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separator>, 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separator>, 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PK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separator>, 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'2_Owner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7D-4746-974D-3D2BD7888B7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17D-4746-974D-3D2BD7888B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17D-4746-974D-3D2BD7888B7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17D-4746-974D-3D2BD7888B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_Owner'!$A$4:$A$8</c:f>
              <c:strCache>
                <c:ptCount val="4"/>
                <c:pt idx="0">
                  <c:v>Private</c:v>
                </c:pt>
                <c:pt idx="1">
                  <c:v>Partnerships</c:v>
                </c:pt>
                <c:pt idx="2">
                  <c:v>Government</c:v>
                </c:pt>
                <c:pt idx="3">
                  <c:v>Academic</c:v>
                </c:pt>
              </c:strCache>
            </c:strRef>
          </c:cat>
          <c:val>
            <c:numRef>
              <c:f>'2_Owner'!$B$4:$B$8</c:f>
              <c:numCache>
                <c:formatCode>_([$$-409]* #,##0_);_([$$-409]* \(#,##0\);_([$$-409]* "-"_);_(@_)</c:formatCode>
                <c:ptCount val="4"/>
                <c:pt idx="0">
                  <c:v>311943526.22738755</c:v>
                </c:pt>
                <c:pt idx="1">
                  <c:v>146402955.30965352</c:v>
                </c:pt>
                <c:pt idx="2">
                  <c:v>85407696.471751019</c:v>
                </c:pt>
                <c:pt idx="3">
                  <c:v>7308528.4403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17D-4746-974D-3D2BD7888B7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r">
              <a:defRPr sz="1200"/>
            </a:lvl1pPr>
          </a:lstStyle>
          <a:p>
            <a:fld id="{E3531FE7-7FF3-4C1D-88CA-25CF2880FF10}" type="datetimeFigureOut">
              <a:rPr lang="en-US" smtClean="0"/>
              <a:t>11/9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296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893296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r">
              <a:defRPr sz="1200"/>
            </a:lvl1pPr>
          </a:lstStyle>
          <a:p>
            <a:fld id="{41D38F52-2BF4-4B59-B3A8-483E596EBD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86469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r">
              <a:defRPr sz="1200"/>
            </a:lvl1pPr>
          </a:lstStyle>
          <a:p>
            <a:fld id="{1E6B0C71-41A7-402F-8400-797505E879ED}" type="datetimeFigureOut">
              <a:rPr lang="en-US" smtClean="0"/>
              <a:t>11/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6975" y="701675"/>
            <a:ext cx="4683125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6" tIns="46968" rIns="93936" bIns="4696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447461"/>
            <a:ext cx="5661660" cy="4213384"/>
          </a:xfrm>
          <a:prstGeom prst="rect">
            <a:avLst/>
          </a:prstGeom>
        </p:spPr>
        <p:txBody>
          <a:bodyPr vert="horz" lIns="93936" tIns="46968" rIns="93936" bIns="4696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6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893296"/>
            <a:ext cx="3066733" cy="468154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r">
              <a:defRPr sz="1200"/>
            </a:lvl1pPr>
          </a:lstStyle>
          <a:p>
            <a:fld id="{F033238C-3F96-4488-8D55-5B1BB236DF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66417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T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67A0AC-47C2-483F-B423-231B1C57254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33238C-3F96-4488-8D55-5B1BB236DF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795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T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67A0AC-47C2-483F-B423-231B1C57254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33238C-3F96-4488-8D55-5B1BB236DF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918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213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9757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1143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255264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6126480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55264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126480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7502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923379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22121459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/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965192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965192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795528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795528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7"/>
          </p:nvPr>
        </p:nvSpPr>
        <p:spPr>
          <a:xfrm>
            <a:off x="4965192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4965192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965192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788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1389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1389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87901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utlined 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49631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59943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70255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07747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s with text box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43230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46227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50138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7908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0300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3/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259836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6126480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9016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9349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2/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7365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7074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1709928"/>
            <a:ext cx="3035808" cy="4434840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34327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50028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1495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697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3931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0"/>
          </p:nvPr>
        </p:nvSpPr>
        <p:spPr>
          <a:xfrm>
            <a:off x="47365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8377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344168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669280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344168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678424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37"/>
          </p:nvPr>
        </p:nvSpPr>
        <p:spPr>
          <a:xfrm>
            <a:off x="1344168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5788152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1344168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5678424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3905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4772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95056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7"/>
          <p:cNvSpPr txBox="1">
            <a:spLocks/>
          </p:cNvSpPr>
          <p:nvPr userDrawn="1"/>
        </p:nvSpPr>
        <p:spPr>
          <a:xfrm>
            <a:off x="792437" y="1177773"/>
            <a:ext cx="4005072" cy="1024128"/>
          </a:xfrm>
          <a:prstGeom prst="rect">
            <a:avLst/>
          </a:prstGeom>
        </p:spPr>
        <p:txBody>
          <a:bodyPr/>
          <a:lstStyle/>
          <a:p>
            <a:pPr marL="169863" lvl="1" indent="-168275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US" sz="1100" dirty="0">
                <a:solidFill>
                  <a:srgbClr val="000000"/>
                </a:solidFill>
                <a:cs typeface="Arial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40697631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4434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jor Poin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0824077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jor Point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0849591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jor Poi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4083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0966468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8161717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48822" y="5158686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6155072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9271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513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E77D9B4D-5D1D-4E5C-BE5D-8B791624F18A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2793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90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E77D9B4D-5D1D-4E5C-BE5D-8B791624F18A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28350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038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79262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83FAC68-30D2-4B9D-A62C-1075DBE38A7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57067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5983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63588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84274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14681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36570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339725" y="2640013"/>
            <a:ext cx="8629650" cy="52387"/>
          </a:xfrm>
          <a:prstGeom prst="rect">
            <a:avLst/>
          </a:prstGeom>
          <a:solidFill>
            <a:srgbClr val="A9B08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834" tIns="50917" rIns="101834" bIns="50917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3379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22263" y="1350963"/>
            <a:ext cx="5978525" cy="1236662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799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22263" y="2838450"/>
            <a:ext cx="2827337" cy="928688"/>
          </a:xfrm>
        </p:spPr>
        <p:txBody>
          <a:bodyPr/>
          <a:lstStyle>
            <a:lvl1pPr marL="0" indent="0">
              <a:buClr>
                <a:schemeClr val="bg2"/>
              </a:buClr>
              <a:buFont typeface="Wingdings" pitchFamily="2" charset="2"/>
              <a:buNone/>
              <a:defRPr>
                <a:solidFill>
                  <a:srgbClr val="5E5145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1719015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3091" y="697473"/>
            <a:ext cx="8255000" cy="5086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6A5D2F-D05B-4ECF-8982-756CAE6399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449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0745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CF2C7B-4BDE-4F71-8121-94741814E0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2777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6538" y="1087438"/>
            <a:ext cx="4051300" cy="508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40238" y="1087438"/>
            <a:ext cx="4051300" cy="508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F66F92-3E90-4834-9CA7-EA232476C6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7616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58001-D271-4967-A178-5CC0CAE773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9810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11F863-732D-4199-BFBC-9B0F7FC54E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2079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577BD4-AB71-4375-B896-CD40A7961B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4809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958309-F292-4736-BC72-E0A76C0720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1358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8D933A-034E-4351-B23F-F2C2536541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97048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6C074E-0D6D-4E0D-939D-192FF42489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5081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0013" y="33338"/>
            <a:ext cx="2151062" cy="61404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7938" y="33338"/>
            <a:ext cx="6305551" cy="6140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ED78C6-70A3-4119-829F-1BE23F84DC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1006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938" y="33338"/>
            <a:ext cx="8609013" cy="3540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538" y="1087438"/>
            <a:ext cx="4051300" cy="508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440238" y="1087438"/>
            <a:ext cx="4051300" cy="2466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440238" y="3706813"/>
            <a:ext cx="4051300" cy="2466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8538E-A923-4B50-816E-6B46ADC2B6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2771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dra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1"/>
          </p:nvPr>
        </p:nvSpPr>
        <p:spPr>
          <a:xfrm>
            <a:off x="4648200" y="1273192"/>
            <a:ext cx="4261104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228600" y="922673"/>
            <a:ext cx="426415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273192"/>
            <a:ext cx="426415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4" y="922673"/>
            <a:ext cx="4261104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4648200" y="4029456"/>
            <a:ext cx="4261104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228600" y="3678937"/>
            <a:ext cx="426415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228600" y="4029456"/>
            <a:ext cx="426415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5024" y="3678937"/>
            <a:ext cx="4261104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8915400" cy="356616"/>
          </a:xfrm>
          <a:prstGeom prst="rect">
            <a:avLst/>
          </a:prstGeom>
        </p:spPr>
        <p:txBody>
          <a:bodyPr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8600" y="533400"/>
            <a:ext cx="8686800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7DB56-8B84-4DD3-ADA6-CDCC019742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7814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818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83FAC68-30D2-4B9D-A62C-1075DBE38A7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7105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28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966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843486" y="6382726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latin typeface="+mj-lt"/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  <a:cs typeface="Calibri" panose="020F0502020204030204" pitchFamily="34" charset="0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598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1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3834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3759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5172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E77D9B4D-5D1D-4E5C-BE5D-8B791624F18A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9357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832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9918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6729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83FAC68-30D2-4B9D-A62C-1075DBE38A7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0899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98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2624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602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2628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9120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018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 baseline="0"/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auto">
          <a:xfrm>
            <a:off x="842683" y="6173788"/>
            <a:ext cx="6206188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Unlocking Business Value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fld id="{76D8E909-938B-47AE-BA6E-C31282E5C10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1" y="3671103"/>
            <a:ext cx="4572016" cy="21312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6042026" y="2348805"/>
            <a:ext cx="2644775" cy="7134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Company Name</a:t>
            </a:r>
            <a:br>
              <a:rPr lang="de-DE" dirty="0"/>
            </a:br>
            <a:r>
              <a:rPr lang="de-DE" dirty="0"/>
              <a:t>Your Nam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6042026" y="1555751"/>
            <a:ext cx="2644775" cy="6448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baseline="0"/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Contact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6042026" y="3210454"/>
            <a:ext cx="2644775" cy="14276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 baseline="0"/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Your Adress and Contact Informatio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6042026" y="4786323"/>
            <a:ext cx="2644775" cy="10159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u="sng" baseline="0">
                <a:solidFill>
                  <a:srgbClr val="0070C0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www.domain.com</a:t>
            </a:r>
          </a:p>
        </p:txBody>
      </p:sp>
    </p:spTree>
    <p:extLst>
      <p:ext uri="{BB962C8B-B14F-4D97-AF65-F5344CB8AC3E}">
        <p14:creationId xmlns:p14="http://schemas.microsoft.com/office/powerpoint/2010/main" val="180014271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2402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E77D9B4D-5D1D-4E5C-BE5D-8B791624F18A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4593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067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655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158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8405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83FAC68-30D2-4B9D-A62C-1075DBE38A7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8400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7497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920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7128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748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8233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2384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139E8DC-5FBE-403C-ADA7-20EEF157471D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0041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E77D9B4D-5D1D-4E5C-BE5D-8B791624F18A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0788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B841098-6B20-4FDF-979D-A5C535E9BAF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222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7258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E6FD65-70D1-4E92-B01F-8E1A01E3F82B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9648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71D5AFB8-ED19-4D20-B0FB-727D4A5140DC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553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283FAC68-30D2-4B9D-A62C-1075DBE38A72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0524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852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1283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7513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460DD93E-BAA8-4907-A577-04F01671D8B5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049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043F17D5-8756-4F4A-A185-3574C6D4A626}" type="datetime1">
              <a:rPr lang="en-US" smtClean="0">
                <a:solidFill>
                  <a:prstClr val="black"/>
                </a:solidFill>
              </a:rPr>
              <a:pPr/>
              <a:t>11/9/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0753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gray">
          <a:xfrm>
            <a:off x="892175" y="4756150"/>
            <a:ext cx="1585913" cy="201613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>
                <a:solidFill>
                  <a:srgbClr val="000000"/>
                </a:solidFill>
                <a:cs typeface="Arial" charset="0"/>
              </a:rPr>
              <a:t>Deloitte Consulting LLP</a:t>
            </a:r>
            <a:endParaRPr lang="en-GB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96112" y="2578608"/>
            <a:ext cx="6583680" cy="438912"/>
          </a:xfrm>
        </p:spPr>
        <p:txBody>
          <a:bodyPr anchor="b"/>
          <a:lstStyle>
            <a:lvl1pPr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0575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ief Prefa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46504" y="2368296"/>
            <a:ext cx="5632704" cy="2487168"/>
          </a:xfrm>
        </p:spPr>
        <p:txBody>
          <a:bodyPr tIns="73152" bIns="73152"/>
          <a:lstStyle>
            <a:lvl1pPr eaLnBrk="1" hangingPunct="1"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lvl1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219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791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er Introduc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8416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/>
        </p:nvSpPr>
        <p:spPr bwMode="gray">
          <a:xfrm>
            <a:off x="392113" y="5016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43479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2478088" y="2136775"/>
            <a:ext cx="4167187" cy="22860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72000" tIns="0" rIns="72000" bIns="0" anchor="b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8" descr="dhsSeal"/>
          <p:cNvPicPr>
            <a:picLocks noChangeAspect="1" noChangeArrowheads="1"/>
          </p:cNvPicPr>
          <p:nvPr userDrawn="1"/>
        </p:nvPicPr>
        <p:blipFill>
          <a:blip r:embed="rId2" cstate="print"/>
          <a:srcRect t="30652" r="20091"/>
          <a:stretch>
            <a:fillRect/>
          </a:stretch>
        </p:blipFill>
        <p:spPr bwMode="auto">
          <a:xfrm>
            <a:off x="130175" y="6026150"/>
            <a:ext cx="719138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89504" y="3081528"/>
            <a:ext cx="3346704" cy="256032"/>
          </a:xfrm>
          <a:solidFill>
            <a:schemeClr val="bg1"/>
          </a:solidFill>
        </p:spPr>
        <p:txBody>
          <a:bodyPr lIns="73152" rIns="73152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3221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P_DOCTRACKER"/>
          <p:cNvSpPr txBox="1">
            <a:spLocks noChangeArrowheads="1"/>
          </p:cNvSpPr>
          <p:nvPr/>
        </p:nvSpPr>
        <p:spPr bwMode="gray">
          <a:xfrm rot="16200000">
            <a:off x="8861425" y="6543675"/>
            <a:ext cx="422275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">
                <a:solidFill>
                  <a:srgbClr val="AFAFAF"/>
                </a:solidFill>
                <a:cs typeface="Arial" charset="0"/>
              </a:rPr>
              <a:t>BST_Approach and Functions (5 3 10 v4</a:t>
            </a:r>
            <a:r>
              <a:rPr lang="en-US" sz="400" dirty="0">
                <a:solidFill>
                  <a:srgbClr val="AFAFAF"/>
                </a:solidFill>
                <a:cs typeface="Arial" charset="0"/>
              </a:rPr>
              <a:t>).ppt</a:t>
            </a:r>
          </a:p>
        </p:txBody>
      </p:sp>
      <p:sp>
        <p:nvSpPr>
          <p:cNvPr id="6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8" descr="dhsSeal"/>
          <p:cNvPicPr>
            <a:picLocks noChangeAspect="1" noChangeArrowheads="1"/>
          </p:cNvPicPr>
          <p:nvPr userDrawn="1"/>
        </p:nvPicPr>
        <p:blipFill>
          <a:blip r:embed="rId2" cstate="print"/>
          <a:srcRect t="30652" r="20091"/>
          <a:stretch>
            <a:fillRect/>
          </a:stretch>
        </p:blipFill>
        <p:spPr bwMode="auto">
          <a:xfrm>
            <a:off x="130175" y="6026150"/>
            <a:ext cx="719138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noFill/>
        </p:spPr>
        <p:txBody>
          <a:bodyPr anchor="b"/>
          <a:lstStyle>
            <a:lvl1pPr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31098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P_DOCTRACKER"/>
          <p:cNvSpPr txBox="1">
            <a:spLocks noChangeArrowheads="1"/>
          </p:cNvSpPr>
          <p:nvPr/>
        </p:nvSpPr>
        <p:spPr bwMode="gray">
          <a:xfrm rot="16200000">
            <a:off x="8861425" y="6543675"/>
            <a:ext cx="422275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">
                <a:solidFill>
                  <a:srgbClr val="AFAFAF"/>
                </a:solidFill>
                <a:cs typeface="Arial" charset="0"/>
              </a:rPr>
              <a:t>BST_Approach and Functions (5 3 10 v4</a:t>
            </a:r>
            <a:r>
              <a:rPr lang="en-US" sz="400" dirty="0">
                <a:solidFill>
                  <a:srgbClr val="AFAFAF"/>
                </a:solidFill>
                <a:cs typeface="Arial" charset="0"/>
              </a:rPr>
              <a:t>).ppt</a:t>
            </a:r>
          </a:p>
        </p:txBody>
      </p:sp>
      <p:sp>
        <p:nvSpPr>
          <p:cNvPr id="6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8" descr="dhsSeal"/>
          <p:cNvPicPr>
            <a:picLocks noChangeAspect="1" noChangeArrowheads="1"/>
          </p:cNvPicPr>
          <p:nvPr userDrawn="1"/>
        </p:nvPicPr>
        <p:blipFill>
          <a:blip r:embed="rId2" cstate="print"/>
          <a:srcRect t="30652" r="20091"/>
          <a:stretch>
            <a:fillRect/>
          </a:stretch>
        </p:blipFill>
        <p:spPr bwMode="auto">
          <a:xfrm>
            <a:off x="130175" y="6026150"/>
            <a:ext cx="719138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noFill/>
        </p:spPr>
        <p:txBody>
          <a:bodyPr anchor="b"/>
          <a:lstStyle>
            <a:lvl1pPr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3701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P_DOCTRACKER"/>
          <p:cNvSpPr txBox="1">
            <a:spLocks noChangeArrowheads="1"/>
          </p:cNvSpPr>
          <p:nvPr/>
        </p:nvSpPr>
        <p:spPr bwMode="gray">
          <a:xfrm rot="16200000">
            <a:off x="8861425" y="6543675"/>
            <a:ext cx="422275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">
                <a:solidFill>
                  <a:srgbClr val="AFAFAF"/>
                </a:solidFill>
                <a:cs typeface="Arial" charset="0"/>
              </a:rPr>
              <a:t>BST_Approach and Functions (5 3 10 v4</a:t>
            </a:r>
            <a:r>
              <a:rPr lang="en-US" sz="400" dirty="0">
                <a:solidFill>
                  <a:srgbClr val="AFAFAF"/>
                </a:solidFill>
                <a:cs typeface="Arial" charset="0"/>
              </a:rPr>
              <a:t>).ppt</a:t>
            </a:r>
          </a:p>
        </p:txBody>
      </p:sp>
      <p:sp>
        <p:nvSpPr>
          <p:cNvPr id="5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8" descr="dhsSeal"/>
          <p:cNvPicPr>
            <a:picLocks noChangeAspect="1" noChangeArrowheads="1"/>
          </p:cNvPicPr>
          <p:nvPr userDrawn="1"/>
        </p:nvPicPr>
        <p:blipFill>
          <a:blip r:embed="rId2" cstate="print"/>
          <a:srcRect t="30652" r="20091"/>
          <a:stretch>
            <a:fillRect/>
          </a:stretch>
        </p:blipFill>
        <p:spPr bwMode="auto">
          <a:xfrm>
            <a:off x="130175" y="6026150"/>
            <a:ext cx="719138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noFill/>
        </p:spPr>
        <p:txBody>
          <a:bodyPr anchor="b"/>
          <a:lstStyle>
            <a:lvl1pPr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7888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paragraph, dash,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84360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255264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26480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23076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50662" y="1399032"/>
            <a:ext cx="4014216" cy="2057400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94062" y="1399032"/>
            <a:ext cx="4014216" cy="2057400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057400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694062" y="4041648"/>
            <a:ext cx="4014216" cy="2057400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589291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255264" y="1399032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6126480" y="1399032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041839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55264" y="4041839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126480" y="4041839"/>
            <a:ext cx="2606040" cy="2249424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110224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5B5E13D4-7D2B-4BDA-BF2C-DC73CAF25C11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4014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6500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72423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/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965192" y="1289304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965192" y="2368296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795528" y="4535424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795528" y="5614416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7"/>
          </p:nvPr>
        </p:nvSpPr>
        <p:spPr>
          <a:xfrm>
            <a:off x="4965192" y="3456432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4965192" y="4535424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965192" y="5614416"/>
            <a:ext cx="3611880" cy="74980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4263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138928" y="1289304"/>
            <a:ext cx="3611880" cy="749808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138928" y="2368296"/>
            <a:ext cx="3611880" cy="749808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47288"/>
            <a:ext cx="3611880" cy="749808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701282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utlined 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496312" y="1243584"/>
            <a:ext cx="2048256" cy="2103120"/>
          </a:xfrm>
          <a:noFill/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243584"/>
            <a:ext cx="2048256" cy="2103120"/>
          </a:xfrm>
          <a:noFill/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599432" y="1243584"/>
            <a:ext cx="2048256" cy="2103120"/>
          </a:xfrm>
          <a:noFill/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702552" y="1243584"/>
            <a:ext cx="2048256" cy="2103120"/>
          </a:xfrm>
          <a:noFill/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149972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s with text box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828800"/>
            <a:ext cx="203911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432304" y="1828800"/>
            <a:ext cx="203911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462272" y="1828800"/>
            <a:ext cx="203911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709160"/>
            <a:ext cx="400507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4709160"/>
            <a:ext cx="400507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501384" y="1828800"/>
            <a:ext cx="2039112" cy="1591056"/>
          </a:xfrm>
        </p:spPr>
        <p:txBody>
          <a:bodyPr lIns="73152" rIns="73152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519986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05072" cy="225856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25856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19768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3/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270248"/>
            <a:ext cx="2633472" cy="202996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259836" y="4270248"/>
            <a:ext cx="2633472" cy="202996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6126480" y="4270248"/>
            <a:ext cx="2633472" cy="202996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80423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2/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864608"/>
            <a:ext cx="4005072" cy="108813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736592" y="4864608"/>
            <a:ext cx="4005072" cy="108813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345204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1709928"/>
            <a:ext cx="3035808" cy="443484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9901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93041887-92BE-4623-8A52-5E93181FB8E6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069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898648"/>
            <a:ext cx="4005072" cy="3392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898648"/>
            <a:ext cx="4005072" cy="3392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239569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1152144"/>
            <a:ext cx="4005072" cy="51389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507579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334670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334670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748999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3931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0"/>
          </p:nvPr>
        </p:nvSpPr>
        <p:spPr>
          <a:xfrm>
            <a:off x="47365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3904488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3904488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6431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097280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097280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2414016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2414016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37"/>
          </p:nvPr>
        </p:nvSpPr>
        <p:spPr>
          <a:xfrm>
            <a:off x="1444752" y="3739896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5788152" y="3739896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1444752" y="50566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5788152" y="5056632"/>
            <a:ext cx="2944368" cy="768096"/>
          </a:xfrm>
        </p:spPr>
        <p:txBody>
          <a:bodyPr lIns="54864" tIns="54864" rIns="54864" bIns="54864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1034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10276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55395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05800" y="6457950"/>
            <a:ext cx="838200" cy="4000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A6494D6-1ECB-462E-8B7F-4E2E361922A8}" type="slidenum">
              <a:rPr lang="en-US" sz="110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84044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Rectangle 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42900" y="2803525"/>
            <a:ext cx="8586788" cy="391517"/>
          </a:xfrm>
          <a:ln algn="ctr"/>
        </p:spPr>
        <p:txBody>
          <a:bodyPr lIns="45720" rIns="45720">
            <a:spAutoFit/>
          </a:bodyPr>
          <a:lstStyle>
            <a:lvl1pPr marL="0" indent="0">
              <a:buFontTx/>
              <a:buNone/>
              <a:defRPr sz="2400" i="1">
                <a:solidFill>
                  <a:srgbClr val="777777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ctrTitle"/>
          </p:nvPr>
        </p:nvSpPr>
        <p:spPr bwMode="gray">
          <a:xfrm>
            <a:off x="268288" y="762000"/>
            <a:ext cx="8605837" cy="587212"/>
          </a:xfrm>
          <a:ln algn="ctr"/>
        </p:spPr>
        <p:txBody>
          <a:bodyPr lIns="45720" rIns="45720" anchor="t"/>
          <a:lstStyle>
            <a:lvl1pPr>
              <a:defRPr sz="36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5412F0-E68E-4224-8B59-818DC358BB1F}" type="slidenum">
              <a:rPr lang="en-US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8263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5550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82726"/>
            <a:ext cx="2133600" cy="365125"/>
          </a:xfrm>
          <a:prstGeom prst="rect">
            <a:avLst/>
          </a:prstGeom>
        </p:spPr>
        <p:txBody>
          <a:bodyPr/>
          <a:lstStyle/>
          <a:p>
            <a:fld id="{C9F1A07C-E86C-4590-986E-A003E1274E10}" type="datetime1">
              <a:rPr lang="en-US" smtClean="0"/>
              <a:t>11/9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89546"/>
            <a:ext cx="2133600" cy="365125"/>
          </a:xfrm>
          <a:prstGeom prst="rect">
            <a:avLst/>
          </a:prstGeom>
        </p:spPr>
        <p:txBody>
          <a:bodyPr/>
          <a:lstStyle/>
          <a:p>
            <a:fld id="{D2FA8442-D2B0-4ECB-9745-B5F941758E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7438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88876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ief Prefa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46504" y="2368296"/>
            <a:ext cx="5632704" cy="2487168"/>
          </a:xfrm>
        </p:spPr>
        <p:txBody>
          <a:bodyPr tIns="73152" bIns="73152"/>
          <a:lstStyle>
            <a:lvl1pPr eaLnBrk="1" hangingPunct="1"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lvl1pPr>
            <a:lvl5pPr>
              <a:buNone/>
              <a:defRPr/>
            </a:lvl5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0428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er Introduc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620503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974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2478088" y="2136775"/>
            <a:ext cx="4167187" cy="22860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72000" tIns="0" rIns="72000" bIns="0" anchor="b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89504" y="3081528"/>
            <a:ext cx="3346704" cy="256032"/>
          </a:xfrm>
          <a:solidFill>
            <a:schemeClr val="bg1"/>
          </a:solidFill>
        </p:spPr>
        <p:txBody>
          <a:bodyPr lIns="73152" rIns="73152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599411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8218727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63914314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7294078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paragraph, dash,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9729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255264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26480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898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8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theme" Target="../theme/theme7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843486" y="6382726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latin typeface="+mj-lt"/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  <a:cs typeface="Calibri" panose="020F0502020204030204" pitchFamily="34" charset="0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4E429B-E753-450B-B47A-F84E232946A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52400" y="6358342"/>
            <a:ext cx="565174" cy="38950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4315BE1-FAA3-469A-9C6A-15453D520B95}"/>
              </a:ext>
            </a:extLst>
          </p:cNvPr>
          <p:cNvCxnSpPr/>
          <p:nvPr userDrawn="1"/>
        </p:nvCxnSpPr>
        <p:spPr>
          <a:xfrm>
            <a:off x="152400" y="689957"/>
            <a:ext cx="8692342" cy="0"/>
          </a:xfrm>
          <a:prstGeom prst="line">
            <a:avLst/>
          </a:prstGeom>
          <a:ln w="12700">
            <a:solidFill>
              <a:srgbClr val="00A2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6431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14284B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8272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369086"/>
            <a:ext cx="997194" cy="392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457200" y="606701"/>
            <a:ext cx="8229600" cy="0"/>
          </a:xfrm>
          <a:prstGeom prst="line">
            <a:avLst/>
          </a:prstGeom>
          <a:ln w="19050" cap="flat" cmpd="sng">
            <a:solidFill>
              <a:srgbClr val="00245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391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8272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86" y="6449857"/>
            <a:ext cx="791936" cy="311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348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8272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369086"/>
            <a:ext cx="997194" cy="392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457200" y="606701"/>
            <a:ext cx="8229600" cy="0"/>
          </a:xfrm>
          <a:prstGeom prst="line">
            <a:avLst/>
          </a:prstGeom>
          <a:ln w="19050" cap="flat" cmpd="sng">
            <a:solidFill>
              <a:srgbClr val="00245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644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8272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86" y="6449857"/>
            <a:ext cx="791936" cy="311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8603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rgbClr val="00245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247650"/>
            <a:ext cx="834548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08438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99747" name="Line 35"/>
          <p:cNvSpPr>
            <a:spLocks noChangeShapeType="1"/>
          </p:cNvSpPr>
          <p:nvPr/>
        </p:nvSpPr>
        <p:spPr bwMode="gray">
          <a:xfrm>
            <a:off x="392113" y="548282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20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  <p:sldLayoutId id="2147483788" r:id="rId28"/>
    <p:sldLayoutId id="2147483789" r:id="rId29"/>
    <p:sldLayoutId id="2147483790" r:id="rId30"/>
    <p:sldLayoutId id="2147483791" r:id="rId31"/>
    <p:sldLayoutId id="2147483792" r:id="rId32"/>
  </p:sldLayoutIdLst>
  <p:hf sldNum="0" hd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14788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99717" name="Text Box 5"/>
          <p:cNvSpPr txBox="1">
            <a:spLocks noChangeArrowheads="1"/>
          </p:cNvSpPr>
          <p:nvPr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>
                <a:solidFill>
                  <a:srgbClr val="000000"/>
                </a:solidFill>
                <a:cs typeface="Arial" charset="0"/>
              </a:rPr>
              <a:t>- </a:t>
            </a:r>
            <a:fld id="{2BE85F05-2F07-493B-8049-2BAFDAA99351}" type="slidenum">
              <a:rPr lang="en-US" sz="900">
                <a:solidFill>
                  <a:srgbClr val="000000"/>
                </a:solidFill>
                <a:cs typeface="Arial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>
                <a:solidFill>
                  <a:srgbClr val="000000"/>
                </a:solidFill>
                <a:cs typeface="Arial" charset="0"/>
              </a:rPr>
              <a:t> -</a:t>
            </a:r>
          </a:p>
        </p:txBody>
      </p:sp>
      <p:sp>
        <p:nvSpPr>
          <p:cNvPr id="3699738" name="SHP_DOCTRACKER"/>
          <p:cNvSpPr txBox="1">
            <a:spLocks noChangeArrowheads="1"/>
          </p:cNvSpPr>
          <p:nvPr/>
        </p:nvSpPr>
        <p:spPr bwMode="gray">
          <a:xfrm rot="-5400000">
            <a:off x="8861425" y="6543675"/>
            <a:ext cx="422275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">
                <a:solidFill>
                  <a:srgbClr val="AFAFAF"/>
                </a:solidFill>
                <a:cs typeface="Arial" charset="0"/>
              </a:rPr>
              <a:t>Stratbridge Deck.pptx</a:t>
            </a:r>
          </a:p>
        </p:txBody>
      </p:sp>
      <p:sp>
        <p:nvSpPr>
          <p:cNvPr id="3699747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285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8" r:id="rId31"/>
    <p:sldLayoutId id="2147483839" r:id="rId32"/>
    <p:sldLayoutId id="2147483840" r:id="rId33"/>
    <p:sldLayoutId id="2147483841" r:id="rId34"/>
    <p:sldLayoutId id="2147483842" r:id="rId35"/>
    <p:sldLayoutId id="2147483843" r:id="rId36"/>
    <p:sldLayoutId id="2147483844" r:id="rId37"/>
  </p:sldLayoutIdLst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232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8272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A8442-D2B0-4ECB-9745-B5F941758E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86" y="6449857"/>
            <a:ext cx="791936" cy="311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9173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-7938" y="33338"/>
            <a:ext cx="8609013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6538" y="750888"/>
            <a:ext cx="8423275" cy="532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117975" y="6494463"/>
            <a:ext cx="89852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0CCC9A-D75F-4DFE-9D85-EADC01617369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29" name="Line 7"/>
          <p:cNvSpPr>
            <a:spLocks noChangeShapeType="1"/>
          </p:cNvSpPr>
          <p:nvPr/>
        </p:nvSpPr>
        <p:spPr bwMode="auto">
          <a:xfrm>
            <a:off x="34925" y="6413500"/>
            <a:ext cx="9048750" cy="0"/>
          </a:xfrm>
          <a:prstGeom prst="line">
            <a:avLst/>
          </a:prstGeom>
          <a:noFill/>
          <a:ln w="25400" algn="ctr">
            <a:solidFill>
              <a:srgbClr val="A9B08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01870" tIns="50935" rIns="101870" bIns="5093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30" name="Picture 17" descr="WFS_footer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1988" y="6497638"/>
            <a:ext cx="204470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-6350" y="436563"/>
            <a:ext cx="9140825" cy="0"/>
          </a:xfrm>
          <a:prstGeom prst="line">
            <a:avLst/>
          </a:prstGeom>
          <a:noFill/>
          <a:ln w="25400" algn="ctr">
            <a:solidFill>
              <a:srgbClr val="A9B08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01870" tIns="50935" rIns="101870" bIns="5093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97" b="21202"/>
          <a:stretch/>
        </p:blipFill>
        <p:spPr bwMode="auto">
          <a:xfrm>
            <a:off x="76200" y="6497639"/>
            <a:ext cx="1000125" cy="25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6802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rgbClr val="BB0826"/>
          </a:solidFill>
          <a:latin typeface="Georgia" pitchFamily="18" charset="0"/>
        </a:defRPr>
      </a:lvl9pPr>
    </p:titleStyle>
    <p:bodyStyle>
      <a:lvl1pPr marL="225425" indent="-225425" algn="l" rtl="0" eaLnBrk="0" fontAlgn="base" hangingPunct="0">
        <a:spcBef>
          <a:spcPct val="20000"/>
        </a:spcBef>
        <a:spcAft>
          <a:spcPct val="0"/>
        </a:spcAft>
        <a:buClr>
          <a:srgbClr val="5A5D62"/>
        </a:buClr>
        <a:buSzPct val="115000"/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30188" algn="l" rtl="0" eaLnBrk="0" fontAlgn="base" hangingPunct="0">
        <a:spcBef>
          <a:spcPct val="20000"/>
        </a:spcBef>
        <a:spcAft>
          <a:spcPct val="0"/>
        </a:spcAft>
        <a:buClr>
          <a:srgbClr val="AFAFAF"/>
        </a:buClr>
        <a:buSzPct val="115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682625" indent="-223838" algn="l" rtl="0" eaLnBrk="0" fontAlgn="base" hangingPunct="0">
        <a:spcBef>
          <a:spcPct val="20000"/>
        </a:spcBef>
        <a:spcAft>
          <a:spcPct val="0"/>
        </a:spcAft>
        <a:buClr>
          <a:srgbClr val="5A5D62"/>
        </a:buClr>
        <a:buSzPct val="115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3pPr>
      <a:lvl4pPr marL="890588" indent="-201613" algn="l" rtl="0" eaLnBrk="0" fontAlgn="base" hangingPunct="0">
        <a:spcBef>
          <a:spcPct val="20000"/>
        </a:spcBef>
        <a:spcAft>
          <a:spcPct val="0"/>
        </a:spcAft>
        <a:buClr>
          <a:srgbClr val="AFAFAF"/>
        </a:buClr>
        <a:buSzPct val="115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182688" indent="-177800" algn="l" rtl="0" eaLnBrk="0" fontAlgn="base" hangingPunct="0">
        <a:spcBef>
          <a:spcPct val="20000"/>
        </a:spcBef>
        <a:spcAft>
          <a:spcPct val="0"/>
        </a:spcAft>
        <a:buClr>
          <a:srgbClr val="5A5D62"/>
        </a:buClr>
        <a:buSzPct val="115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639888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SzPct val="115000"/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097088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SzPct val="115000"/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54288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SzPct val="115000"/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3011488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SzPct val="115000"/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58528"/>
            <a:ext cx="8229600" cy="323239"/>
          </a:xfrm>
        </p:spPr>
        <p:txBody>
          <a:bodyPr/>
          <a:lstStyle/>
          <a:p>
            <a:r>
              <a:rPr lang="en-US" sz="2400" dirty="0">
                <a:solidFill>
                  <a:srgbClr val="302C58"/>
                </a:solidFill>
              </a:rPr>
              <a:t>MedTron Performance Update: </a:t>
            </a:r>
            <a:r>
              <a:rPr lang="en-US" sz="2400" b="0" dirty="0">
                <a:solidFill>
                  <a:srgbClr val="302C58"/>
                </a:solidFill>
              </a:rPr>
              <a:t>2020 YTD US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002065-9CE1-46FB-BDD8-0B7ACCCDEE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edTron Robotics | 2020 Shareholder Meet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230563-7EA0-4337-A717-6CD7C8736735}"/>
              </a:ext>
            </a:extLst>
          </p:cNvPr>
          <p:cNvSpPr/>
          <p:nvPr/>
        </p:nvSpPr>
        <p:spPr>
          <a:xfrm>
            <a:off x="152400" y="1290317"/>
            <a:ext cx="6057900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erformance Summary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4788B5A1-93FA-4C84-B268-0D75C01BA7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414313"/>
              </p:ext>
            </p:extLst>
          </p:nvPr>
        </p:nvGraphicFramePr>
        <p:xfrm>
          <a:off x="152400" y="1563288"/>
          <a:ext cx="6057901" cy="1193070"/>
        </p:xfrm>
        <a:graphic>
          <a:graphicData uri="http://schemas.openxmlformats.org/drawingml/2006/table">
            <a:tbl>
              <a:tblPr/>
              <a:tblGrid>
                <a:gridCol w="970211">
                  <a:extLst>
                    <a:ext uri="{9D8B030D-6E8A-4147-A177-3AD203B41FA5}">
                      <a16:colId xmlns:a16="http://schemas.microsoft.com/office/drawing/2014/main" val="1047614847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1585868060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2578854916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735986650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2060974538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3850936688"/>
                    </a:ext>
                  </a:extLst>
                </a:gridCol>
              </a:tblGrid>
              <a:tr h="1988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Customer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 Sale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19 Sale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Growth $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Growth %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69326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thea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96,121,45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48,289,96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$52,168,51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452155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</a:t>
                      </a:r>
                      <a:r>
                        <a:rPr lang="en-P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295,248</a:t>
                      </a:r>
                      <a:r>
                        <a:rPr lang="en-PK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7,869,06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$11,573,812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21714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a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18,297,2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3,312,13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4,985,07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35280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ntra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90,348,79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6,987,332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63,361,464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7937070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and Total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551,062,706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286,458,48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264,604,21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568836"/>
                  </a:ext>
                </a:extLst>
              </a:tr>
            </a:tbl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DAE72BB9-95FE-437B-ABD2-D48F9608C1A0}"/>
              </a:ext>
            </a:extLst>
          </p:cNvPr>
          <p:cNvSpPr/>
          <p:nvPr/>
        </p:nvSpPr>
        <p:spPr>
          <a:xfrm>
            <a:off x="6400799" y="1290317"/>
            <a:ext cx="2514601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Demographic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08E880-2158-4960-B397-FA98F4B0D72C}"/>
              </a:ext>
            </a:extLst>
          </p:cNvPr>
          <p:cNvSpPr/>
          <p:nvPr/>
        </p:nvSpPr>
        <p:spPr>
          <a:xfrm>
            <a:off x="6400799" y="4422023"/>
            <a:ext cx="2514600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Top 5 Key Growth Accounts</a:t>
            </a:r>
          </a:p>
        </p:txBody>
      </p: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93C6E2D2-F35C-43C8-BCC8-E93CCA6E504B}"/>
              </a:ext>
            </a:extLst>
          </p:cNvPr>
          <p:cNvGraphicFramePr>
            <a:graphicFrameLocks noGrp="1"/>
          </p:cNvGraphicFramePr>
          <p:nvPr/>
        </p:nvGraphicFramePr>
        <p:xfrm>
          <a:off x="6400801" y="4893471"/>
          <a:ext cx="2514600" cy="1379896"/>
        </p:xfrm>
        <a:graphic>
          <a:graphicData uri="http://schemas.openxmlformats.org/drawingml/2006/table">
            <a:tbl>
              <a:tblPr/>
              <a:tblGrid>
                <a:gridCol w="1895474">
                  <a:extLst>
                    <a:ext uri="{9D8B030D-6E8A-4147-A177-3AD203B41FA5}">
                      <a16:colId xmlns:a16="http://schemas.microsoft.com/office/drawing/2014/main" val="3218403640"/>
                    </a:ext>
                  </a:extLst>
                </a:gridCol>
                <a:gridCol w="619126">
                  <a:extLst>
                    <a:ext uri="{9D8B030D-6E8A-4147-A177-3AD203B41FA5}">
                      <a16:colId xmlns:a16="http://schemas.microsoft.com/office/drawing/2014/main" val="3798269903"/>
                    </a:ext>
                  </a:extLst>
                </a:gridCol>
              </a:tblGrid>
              <a:tr h="19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ustome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owth 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60083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505712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6602691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80258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0347344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52613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2338097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F5849E11-A623-49B9-B02C-0567C59F8D64}"/>
              </a:ext>
            </a:extLst>
          </p:cNvPr>
          <p:cNvSpPr txBox="1"/>
          <p:nvPr/>
        </p:nvSpPr>
        <p:spPr>
          <a:xfrm>
            <a:off x="200026" y="695325"/>
            <a:ext cx="8650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solidFill>
                  <a:srgbClr val="302C58"/>
                </a:solidFill>
                <a:latin typeface="+mj-lt"/>
                <a:ea typeface="+mj-ea"/>
                <a:cs typeface="+mj-cs"/>
              </a:rPr>
              <a:t>92% (+265M) growth since 2019 driven by private and partnership sales in unrestricted COVID regions, Central and Southeast; key accounts in FL(Cosmetics) and LA</a:t>
            </a:r>
            <a:r>
              <a:rPr lang="en-US" sz="1600" i="1">
                <a:solidFill>
                  <a:srgbClr val="302C58"/>
                </a:solidFill>
                <a:latin typeface="+mj-lt"/>
                <a:ea typeface="+mj-ea"/>
                <a:cs typeface="+mj-cs"/>
              </a:rPr>
              <a:t>(Elder Care)</a:t>
            </a:r>
            <a:endParaRPr lang="en-US" sz="1600" i="1" dirty="0">
              <a:solidFill>
                <a:srgbClr val="302C5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5CF34A3-9DC6-4314-96E8-2E7051BF351E}"/>
              </a:ext>
            </a:extLst>
          </p:cNvPr>
          <p:cNvSpPr txBox="1"/>
          <p:nvPr/>
        </p:nvSpPr>
        <p:spPr>
          <a:xfrm>
            <a:off x="6415392" y="4653246"/>
            <a:ext cx="23070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>
                <a:solidFill>
                  <a:srgbClr val="302C58"/>
                </a:solidFill>
                <a:latin typeface="+mj-lt"/>
                <a:ea typeface="+mj-ea"/>
                <a:cs typeface="+mj-cs"/>
              </a:rPr>
              <a:t>Key Accounts: Over $1M in YoY Sales Growt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10D30-49D2-474C-83BB-B55BC1DBABEE}"/>
              </a:ext>
            </a:extLst>
          </p:cNvPr>
          <p:cNvSpPr/>
          <p:nvPr/>
        </p:nvSpPr>
        <p:spPr>
          <a:xfrm>
            <a:off x="151870" y="2918544"/>
            <a:ext cx="6053444" cy="176675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AA6395-6CE2-4966-8A13-495964B744A1}"/>
              </a:ext>
            </a:extLst>
          </p:cNvPr>
          <p:cNvSpPr/>
          <p:nvPr/>
        </p:nvSpPr>
        <p:spPr>
          <a:xfrm>
            <a:off x="152400" y="4640297"/>
            <a:ext cx="6057901" cy="163307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273803-E51A-45FD-B8BA-BD6D96E9C998}"/>
              </a:ext>
            </a:extLst>
          </p:cNvPr>
          <p:cNvCxnSpPr>
            <a:cxnSpLocks/>
          </p:cNvCxnSpPr>
          <p:nvPr/>
        </p:nvCxnSpPr>
        <p:spPr>
          <a:xfrm>
            <a:off x="6296026" y="1290317"/>
            <a:ext cx="0" cy="49830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6A17F95F-BA77-4124-A9B0-56D58834FBD8}"/>
              </a:ext>
            </a:extLst>
          </p:cNvPr>
          <p:cNvSpPr/>
          <p:nvPr/>
        </p:nvSpPr>
        <p:spPr>
          <a:xfrm>
            <a:off x="6415392" y="1648997"/>
            <a:ext cx="2514600" cy="125839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5EC725-1DB6-4E53-9B40-1462D7E610BF}"/>
              </a:ext>
            </a:extLst>
          </p:cNvPr>
          <p:cNvSpPr/>
          <p:nvPr/>
        </p:nvSpPr>
        <p:spPr>
          <a:xfrm>
            <a:off x="6415392" y="3049946"/>
            <a:ext cx="2514600" cy="125839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AD2BC6-18B2-451E-81BF-6D4D7F588AAB}"/>
              </a:ext>
            </a:extLst>
          </p:cNvPr>
          <p:cNvSpPr/>
          <p:nvPr/>
        </p:nvSpPr>
        <p:spPr>
          <a:xfrm>
            <a:off x="162457" y="2965307"/>
            <a:ext cx="6057902" cy="223682"/>
          </a:xfrm>
          <a:prstGeom prst="rect">
            <a:avLst/>
          </a:prstGeom>
          <a:solidFill>
            <a:srgbClr val="00A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YoY Regional Sales Compa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272E26-FFB4-4668-A8B5-6EFD250121D9}"/>
              </a:ext>
            </a:extLst>
          </p:cNvPr>
          <p:cNvSpPr/>
          <p:nvPr/>
        </p:nvSpPr>
        <p:spPr>
          <a:xfrm>
            <a:off x="162457" y="4715026"/>
            <a:ext cx="6068489" cy="223682"/>
          </a:xfrm>
          <a:prstGeom prst="rect">
            <a:avLst/>
          </a:prstGeom>
          <a:solidFill>
            <a:srgbClr val="00A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Increasing Regions – State Growth by Customer Type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16A4590-8A81-F844-A61F-00C6157B1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045927"/>
              </p:ext>
            </p:extLst>
          </p:nvPr>
        </p:nvGraphicFramePr>
        <p:xfrm>
          <a:off x="6415392" y="5075736"/>
          <a:ext cx="2434994" cy="1015365"/>
        </p:xfrm>
        <a:graphic>
          <a:graphicData uri="http://schemas.openxmlformats.org/drawingml/2006/table">
            <a:tbl>
              <a:tblPr/>
              <a:tblGrid>
                <a:gridCol w="1830604">
                  <a:extLst>
                    <a:ext uri="{9D8B030D-6E8A-4147-A177-3AD203B41FA5}">
                      <a16:colId xmlns:a16="http://schemas.microsoft.com/office/drawing/2014/main" val="3751887812"/>
                    </a:ext>
                  </a:extLst>
                </a:gridCol>
                <a:gridCol w="604390">
                  <a:extLst>
                    <a:ext uri="{9D8B030D-6E8A-4147-A177-3AD203B41FA5}">
                      <a16:colId xmlns:a16="http://schemas.microsoft.com/office/drawing/2014/main" val="84627247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RIDA PLASTIC / COSMETIC CLINI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4152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ST FLORIDA PLASTICS &amp; COSMETIC SURGER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7407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METIC SURGERY MEDICAL 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25322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COMPASS GERIATRIC 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8010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RIDA ELDER CARE MEDICAL 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2845629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D2CCDE6-B1BE-F94E-B1A0-E5D90E31A1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879021"/>
              </p:ext>
            </p:extLst>
          </p:nvPr>
        </p:nvGraphicFramePr>
        <p:xfrm>
          <a:off x="8024886" y="6094134"/>
          <a:ext cx="825500" cy="190500"/>
        </p:xfrm>
        <a:graphic>
          <a:graphicData uri="http://schemas.openxmlformats.org/drawingml/2006/table">
            <a:tbl>
              <a:tblPr/>
              <a:tblGrid>
                <a:gridCol w="825500">
                  <a:extLst>
                    <a:ext uri="{9D8B030D-6E8A-4147-A177-3AD203B41FA5}">
                      <a16:colId xmlns:a16="http://schemas.microsoft.com/office/drawing/2014/main" val="126702001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5.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915135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6B1C4CB8-8CAF-164F-A930-A30D367FD2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9860141"/>
              </p:ext>
            </p:extLst>
          </p:nvPr>
        </p:nvGraphicFramePr>
        <p:xfrm>
          <a:off x="6430736" y="6093943"/>
          <a:ext cx="825500" cy="190500"/>
        </p:xfrm>
        <a:graphic>
          <a:graphicData uri="http://schemas.openxmlformats.org/drawingml/2006/table">
            <a:tbl>
              <a:tblPr/>
              <a:tblGrid>
                <a:gridCol w="825500">
                  <a:extLst>
                    <a:ext uri="{9D8B030D-6E8A-4147-A177-3AD203B41FA5}">
                      <a16:colId xmlns:a16="http://schemas.microsoft.com/office/drawing/2014/main" val="369430885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19907"/>
                  </a:ext>
                </a:extLst>
              </a:tr>
            </a:tbl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DCC1BFBE-2B81-BC44-86C5-8D0A082AAA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9425692"/>
              </p:ext>
            </p:extLst>
          </p:nvPr>
        </p:nvGraphicFramePr>
        <p:xfrm>
          <a:off x="-248771" y="3198784"/>
          <a:ext cx="6947280" cy="1561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D57EF10D-2E11-DE4D-A199-19FDA6C2BD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1840284"/>
              </p:ext>
            </p:extLst>
          </p:nvPr>
        </p:nvGraphicFramePr>
        <p:xfrm>
          <a:off x="162457" y="4908863"/>
          <a:ext cx="6042858" cy="1364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60BF0AD-89F6-034E-ABAD-670EF135F8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0481209"/>
              </p:ext>
            </p:extLst>
          </p:nvPr>
        </p:nvGraphicFramePr>
        <p:xfrm>
          <a:off x="6361107" y="3004991"/>
          <a:ext cx="2782891" cy="1318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A33D10C8-3678-434C-B991-E8534436DE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5808"/>
              </p:ext>
            </p:extLst>
          </p:nvPr>
        </p:nvGraphicFramePr>
        <p:xfrm>
          <a:off x="6415390" y="1645964"/>
          <a:ext cx="2514601" cy="1177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FF82203-3D2C-C14B-9289-46274FB38B15}"/>
              </a:ext>
            </a:extLst>
          </p:cNvPr>
          <p:cNvSpPr txBox="1"/>
          <p:nvPr/>
        </p:nvSpPr>
        <p:spPr>
          <a:xfrm>
            <a:off x="1826613" y="6573659"/>
            <a:ext cx="53971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NOTE – MOCK DATA AND CLIENT SCENARIO FOR TRAINING PURPOSES</a:t>
            </a:r>
            <a:endParaRPr lang="en-PK" sz="1100" dirty="0"/>
          </a:p>
        </p:txBody>
      </p:sp>
    </p:spTree>
    <p:extLst>
      <p:ext uri="{BB962C8B-B14F-4D97-AF65-F5344CB8AC3E}">
        <p14:creationId xmlns:p14="http://schemas.microsoft.com/office/powerpoint/2010/main" val="3275287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58528"/>
            <a:ext cx="8229600" cy="323239"/>
          </a:xfrm>
        </p:spPr>
        <p:txBody>
          <a:bodyPr/>
          <a:lstStyle/>
          <a:p>
            <a:r>
              <a:rPr lang="en-US" sz="2400" dirty="0">
                <a:solidFill>
                  <a:srgbClr val="302C58"/>
                </a:solidFill>
              </a:rPr>
              <a:t>MedTron Performance Update: </a:t>
            </a:r>
            <a:r>
              <a:rPr lang="en-US" sz="2400" b="0" dirty="0">
                <a:solidFill>
                  <a:srgbClr val="302C58"/>
                </a:solidFill>
              </a:rPr>
              <a:t>2020 YTD US Resul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002065-9CE1-46FB-BDD8-0B7ACCCDEE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edTron Robotics | 2020 Shareholder Meet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230563-7EA0-4337-A717-6CD7C8736735}"/>
              </a:ext>
            </a:extLst>
          </p:cNvPr>
          <p:cNvSpPr/>
          <p:nvPr/>
        </p:nvSpPr>
        <p:spPr>
          <a:xfrm>
            <a:off x="152400" y="1290317"/>
            <a:ext cx="6057900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(1) Performance Summary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4788B5A1-93FA-4C84-B268-0D75C01BA7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606131"/>
              </p:ext>
            </p:extLst>
          </p:nvPr>
        </p:nvGraphicFramePr>
        <p:xfrm>
          <a:off x="152400" y="1563288"/>
          <a:ext cx="6057901" cy="1193070"/>
        </p:xfrm>
        <a:graphic>
          <a:graphicData uri="http://schemas.openxmlformats.org/drawingml/2006/table">
            <a:tbl>
              <a:tblPr/>
              <a:tblGrid>
                <a:gridCol w="970211">
                  <a:extLst>
                    <a:ext uri="{9D8B030D-6E8A-4147-A177-3AD203B41FA5}">
                      <a16:colId xmlns:a16="http://schemas.microsoft.com/office/drawing/2014/main" val="1047614847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1585868060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2578854916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735986650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2060974538"/>
                    </a:ext>
                  </a:extLst>
                </a:gridCol>
                <a:gridCol w="1017538">
                  <a:extLst>
                    <a:ext uri="{9D8B030D-6E8A-4147-A177-3AD203B41FA5}">
                      <a16:colId xmlns:a16="http://schemas.microsoft.com/office/drawing/2014/main" val="3850936688"/>
                    </a:ext>
                  </a:extLst>
                </a:gridCol>
              </a:tblGrid>
              <a:tr h="1988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Customer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 Sale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19 Sales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Growth $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Growth %</a:t>
                      </a:r>
                    </a:p>
                  </a:txBody>
                  <a:tcPr marL="6857" marR="6857" marT="68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2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69326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thea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452155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21714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utheas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7352807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entra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7937070"/>
                  </a:ext>
                </a:extLst>
              </a:tr>
              <a:tr h="19884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and Total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8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568836"/>
                  </a:ext>
                </a:extLst>
              </a:tr>
            </a:tbl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DAE72BB9-95FE-437B-ABD2-D48F9608C1A0}"/>
              </a:ext>
            </a:extLst>
          </p:cNvPr>
          <p:cNvSpPr/>
          <p:nvPr/>
        </p:nvSpPr>
        <p:spPr>
          <a:xfrm>
            <a:off x="6400799" y="1290317"/>
            <a:ext cx="2514601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(2) Demographic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08E880-2158-4960-B397-FA98F4B0D72C}"/>
              </a:ext>
            </a:extLst>
          </p:cNvPr>
          <p:cNvSpPr/>
          <p:nvPr/>
        </p:nvSpPr>
        <p:spPr>
          <a:xfrm>
            <a:off x="6400799" y="4422023"/>
            <a:ext cx="2514600" cy="223682"/>
          </a:xfrm>
          <a:prstGeom prst="rect">
            <a:avLst/>
          </a:prstGeom>
          <a:solidFill>
            <a:srgbClr val="0068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(5) Top 5 Key Growth Accounts</a:t>
            </a:r>
          </a:p>
        </p:txBody>
      </p: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93C6E2D2-F35C-43C8-BCC8-E93CCA6E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324204"/>
              </p:ext>
            </p:extLst>
          </p:nvPr>
        </p:nvGraphicFramePr>
        <p:xfrm>
          <a:off x="6400801" y="4893471"/>
          <a:ext cx="2514600" cy="1379896"/>
        </p:xfrm>
        <a:graphic>
          <a:graphicData uri="http://schemas.openxmlformats.org/drawingml/2006/table">
            <a:tbl>
              <a:tblPr/>
              <a:tblGrid>
                <a:gridCol w="1895474">
                  <a:extLst>
                    <a:ext uri="{9D8B030D-6E8A-4147-A177-3AD203B41FA5}">
                      <a16:colId xmlns:a16="http://schemas.microsoft.com/office/drawing/2014/main" val="3218403640"/>
                    </a:ext>
                  </a:extLst>
                </a:gridCol>
                <a:gridCol w="619126">
                  <a:extLst>
                    <a:ext uri="{9D8B030D-6E8A-4147-A177-3AD203B41FA5}">
                      <a16:colId xmlns:a16="http://schemas.microsoft.com/office/drawing/2014/main" val="3798269903"/>
                    </a:ext>
                  </a:extLst>
                </a:gridCol>
              </a:tblGrid>
              <a:tr h="19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ustome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owth $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60083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505712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6602691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80258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0347344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526138"/>
                  </a:ext>
                </a:extLst>
              </a:tr>
              <a:tr h="197128">
                <a:tc>
                  <a:txBody>
                    <a:bodyPr/>
                    <a:lstStyle/>
                    <a:p>
                      <a:pPr algn="l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2338097"/>
                  </a:ext>
                </a:extLst>
              </a:tr>
            </a:tbl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F5849E11-A623-49B9-B02C-0567C59F8D64}"/>
              </a:ext>
            </a:extLst>
          </p:cNvPr>
          <p:cNvSpPr txBox="1"/>
          <p:nvPr/>
        </p:nvSpPr>
        <p:spPr>
          <a:xfrm>
            <a:off x="200026" y="695325"/>
            <a:ext cx="865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solidFill>
                  <a:srgbClr val="302C58"/>
                </a:solidFill>
                <a:latin typeface="+mj-lt"/>
                <a:ea typeface="+mj-ea"/>
                <a:cs typeface="+mj-cs"/>
              </a:rPr>
              <a:t>2-line concise Executive Summary statement here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5CF34A3-9DC6-4314-96E8-2E7051BF351E}"/>
              </a:ext>
            </a:extLst>
          </p:cNvPr>
          <p:cNvSpPr txBox="1"/>
          <p:nvPr/>
        </p:nvSpPr>
        <p:spPr>
          <a:xfrm>
            <a:off x="6415392" y="4653246"/>
            <a:ext cx="23070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>
                <a:solidFill>
                  <a:srgbClr val="302C58"/>
                </a:solidFill>
                <a:latin typeface="+mj-lt"/>
                <a:ea typeface="+mj-ea"/>
                <a:cs typeface="+mj-cs"/>
              </a:rPr>
              <a:t>Key Accounts: Over $1M in YoY Sales Growt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E10D30-49D2-474C-83BB-B55BC1DBABEE}"/>
              </a:ext>
            </a:extLst>
          </p:cNvPr>
          <p:cNvSpPr/>
          <p:nvPr/>
        </p:nvSpPr>
        <p:spPr>
          <a:xfrm>
            <a:off x="152401" y="2804677"/>
            <a:ext cx="6053444" cy="176675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gional YoY Net Sales </a:t>
            </a:r>
          </a:p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‘Clustered Column’, with data labe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AA6395-6CE2-4966-8A13-495964B744A1}"/>
              </a:ext>
            </a:extLst>
          </p:cNvPr>
          <p:cNvSpPr/>
          <p:nvPr/>
        </p:nvSpPr>
        <p:spPr>
          <a:xfrm>
            <a:off x="152400" y="4640297"/>
            <a:ext cx="6057901" cy="163307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ilter for Growing Regions Only - </a:t>
            </a:r>
          </a:p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‘Stacked Columns’ broken out by Region to State, stack splits by Ownership, Growth $ as values, without data labels, sorted largest to smalles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273803-E51A-45FD-B8BA-BD6D96E9C998}"/>
              </a:ext>
            </a:extLst>
          </p:cNvPr>
          <p:cNvCxnSpPr>
            <a:cxnSpLocks/>
          </p:cNvCxnSpPr>
          <p:nvPr/>
        </p:nvCxnSpPr>
        <p:spPr>
          <a:xfrm>
            <a:off x="6296026" y="1290317"/>
            <a:ext cx="0" cy="49830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6A17F95F-BA77-4124-A9B0-56D58834FBD8}"/>
              </a:ext>
            </a:extLst>
          </p:cNvPr>
          <p:cNvSpPr/>
          <p:nvPr/>
        </p:nvSpPr>
        <p:spPr>
          <a:xfrm>
            <a:off x="6415392" y="1627686"/>
            <a:ext cx="2514600" cy="125839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ie Chart: Ownership</a:t>
            </a:r>
          </a:p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y % 2020 Sale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5EC725-1DB6-4E53-9B40-1462D7E610BF}"/>
              </a:ext>
            </a:extLst>
          </p:cNvPr>
          <p:cNvSpPr/>
          <p:nvPr/>
        </p:nvSpPr>
        <p:spPr>
          <a:xfrm>
            <a:off x="6415392" y="3049946"/>
            <a:ext cx="2514600" cy="125839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ie Chart: Type by</a:t>
            </a:r>
          </a:p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% 2020 Sal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AD2BC6-18B2-451E-81BF-6D4D7F588AAB}"/>
              </a:ext>
            </a:extLst>
          </p:cNvPr>
          <p:cNvSpPr/>
          <p:nvPr/>
        </p:nvSpPr>
        <p:spPr>
          <a:xfrm>
            <a:off x="162004" y="2802740"/>
            <a:ext cx="6057902" cy="223682"/>
          </a:xfrm>
          <a:prstGeom prst="rect">
            <a:avLst/>
          </a:prstGeom>
          <a:solidFill>
            <a:srgbClr val="00A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(3) YoY Regional Sales Compa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272E26-FFB4-4668-A8B5-6EFD250121D9}"/>
              </a:ext>
            </a:extLst>
          </p:cNvPr>
          <p:cNvSpPr/>
          <p:nvPr/>
        </p:nvSpPr>
        <p:spPr>
          <a:xfrm>
            <a:off x="151870" y="4640297"/>
            <a:ext cx="6068489" cy="223682"/>
          </a:xfrm>
          <a:prstGeom prst="rect">
            <a:avLst/>
          </a:prstGeom>
          <a:solidFill>
            <a:srgbClr val="00A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(4) Increasing Regions – State Growth by Customer Types</a:t>
            </a:r>
          </a:p>
        </p:txBody>
      </p:sp>
    </p:spTree>
    <p:extLst>
      <p:ext uri="{BB962C8B-B14F-4D97-AF65-F5344CB8AC3E}">
        <p14:creationId xmlns:p14="http://schemas.microsoft.com/office/powerpoint/2010/main" val="2891207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sop Core Slide_Mai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Aesop Cor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US Consulting Report Template_R1.5V_043008">
  <a:themeElements>
    <a:clrScheme name="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9525">
          <a:solidFill>
            <a:schemeClr val="accent1"/>
          </a:solidFill>
          <a:round/>
          <a:headEnd/>
          <a:tailEnd/>
        </a:ln>
      </a:spPr>
      <a:bodyPr lIns="0" tIns="0" rIns="0" bIns="0" anchor="ctr"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gray">
        <a:noFill/>
        <a:ln w="9525">
          <a:noFill/>
          <a:miter lim="800000"/>
          <a:headEnd/>
          <a:tailEnd/>
        </a:ln>
      </a:spPr>
      <a:bodyPr wrap="none" lIns="0" tIns="0" rIns="0" bIns="0">
        <a:spAutoFit/>
      </a:bodyPr>
      <a:lstStyle>
        <a:defPPr algn="r" eaLnBrk="0" hangingPunct="0">
          <a:lnSpc>
            <a:spcPct val="106000"/>
          </a:lnSpc>
          <a:defRPr sz="900" b="1" dirty="0">
            <a:solidFill>
              <a:srgbClr val="969696"/>
            </a:solidFill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US Consulting Report Template_R1.5V_1208">
  <a:themeElements>
    <a:clrScheme name="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12700" cap="rnd" algn="ctr">
          <a:noFill/>
          <a:miter lim="800000"/>
          <a:headEnd/>
          <a:tailEnd/>
        </a:ln>
      </a:spPr>
      <a:bodyPr lIns="182880" anchor="ctr" anchorCtr="1"/>
      <a:lstStyle>
        <a:defPPr algn="ctr" eaLnBrk="0" hangingPunct="0">
          <a:lnSpc>
            <a:spcPct val="106000"/>
          </a:lnSpc>
          <a:defRPr b="1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169863" indent="-168275" algn="l" rtl="0" fontAlgn="base">
          <a:lnSpc>
            <a:spcPct val="106000"/>
          </a:lnSpc>
          <a:spcBef>
            <a:spcPct val="80000"/>
          </a:spcBef>
          <a:spcAft>
            <a:spcPct val="0"/>
          </a:spcAft>
          <a:buClr>
            <a:srgbClr val="000000"/>
          </a:buClr>
          <a:buFont typeface="Wingdings 2" pitchFamily="18" charset="2"/>
          <a:buChar char="¡"/>
          <a:defRPr sz="1100" kern="1200" dirty="0">
            <a:solidFill>
              <a:srgbClr val="000000"/>
            </a:solidFill>
            <a:latin typeface="Arial"/>
            <a:ea typeface="+mn-ea"/>
            <a:cs typeface="Arial" charset="0"/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Standard Slides">
  <a:themeElements>
    <a:clrScheme name="Wells_Fargo_colors">
      <a:dk1>
        <a:sysClr val="windowText" lastClr="000000"/>
      </a:dk1>
      <a:lt1>
        <a:sysClr val="window" lastClr="FFFFFF"/>
      </a:lt1>
      <a:dk2>
        <a:srgbClr val="BB0826"/>
      </a:dk2>
      <a:lt2>
        <a:srgbClr val="FCC60A"/>
      </a:lt2>
      <a:accent1>
        <a:srgbClr val="8AA3B3"/>
      </a:accent1>
      <a:accent2>
        <a:srgbClr val="5E5145"/>
      </a:accent2>
      <a:accent3>
        <a:srgbClr val="A9B089"/>
      </a:accent3>
      <a:accent4>
        <a:srgbClr val="C4A560"/>
      </a:accent4>
      <a:accent5>
        <a:srgbClr val="848C49"/>
      </a:accent5>
      <a:accent6>
        <a:srgbClr val="DADBBF"/>
      </a:accent6>
      <a:hlink>
        <a:srgbClr val="44464A"/>
      </a:hlink>
      <a:folHlink>
        <a:srgbClr val="D7D3C7"/>
      </a:folHlink>
    </a:clrScheme>
    <a:fontScheme name="1_Standard Slides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51525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51525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Standard Slides 1">
        <a:dk1>
          <a:srgbClr val="000000"/>
        </a:dk1>
        <a:lt1>
          <a:srgbClr val="FFFFFF"/>
        </a:lt1>
        <a:dk2>
          <a:srgbClr val="BB0826"/>
        </a:dk2>
        <a:lt2>
          <a:srgbClr val="8F8F8F"/>
        </a:lt2>
        <a:accent1>
          <a:srgbClr val="5E5145"/>
        </a:accent1>
        <a:accent2>
          <a:srgbClr val="8AA3B3"/>
        </a:accent2>
        <a:accent3>
          <a:srgbClr val="FFFFFF"/>
        </a:accent3>
        <a:accent4>
          <a:srgbClr val="000000"/>
        </a:accent4>
        <a:accent5>
          <a:srgbClr val="B6B3B0"/>
        </a:accent5>
        <a:accent6>
          <a:srgbClr val="7D93A2"/>
        </a:accent6>
        <a:hlink>
          <a:srgbClr val="915010"/>
        </a:hlink>
        <a:folHlink>
          <a:srgbClr val="A9B08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554</TotalTime>
  <Words>351</Words>
  <Application>Microsoft Macintosh PowerPoint</Application>
  <PresentationFormat>On-screen Show (4:3)</PresentationFormat>
  <Paragraphs>9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0" baseType="lpstr">
      <vt:lpstr>Arial</vt:lpstr>
      <vt:lpstr>Calibri</vt:lpstr>
      <vt:lpstr>Georgia</vt:lpstr>
      <vt:lpstr>Helvetica</vt:lpstr>
      <vt:lpstr>Times New Roman</vt:lpstr>
      <vt:lpstr>Verdana</vt:lpstr>
      <vt:lpstr>Wingdings</vt:lpstr>
      <vt:lpstr>Wingdings 2</vt:lpstr>
      <vt:lpstr>Aesop Core Slide_Main</vt:lpstr>
      <vt:lpstr>3_Custom Design</vt:lpstr>
      <vt:lpstr>1_Custom Design</vt:lpstr>
      <vt:lpstr>2_Custom Design</vt:lpstr>
      <vt:lpstr>Aesop Core Slide</vt:lpstr>
      <vt:lpstr>2_US Consulting Report Template_R1.5V_043008</vt:lpstr>
      <vt:lpstr>US Consulting Report Template_R1.5V_1208</vt:lpstr>
      <vt:lpstr>Custom Design</vt:lpstr>
      <vt:lpstr>1_Standard Slides</vt:lpstr>
      <vt:lpstr>think-cell Slide</vt:lpstr>
      <vt:lpstr>MedTron Performance Update: 2020 YTD US Results</vt:lpstr>
      <vt:lpstr>MedTron Performance Update: 2020 YTD US Result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panidis</dc:creator>
  <cp:lastModifiedBy>Foqia Shahid</cp:lastModifiedBy>
  <cp:revision>2383</cp:revision>
  <cp:lastPrinted>2015-01-18T18:56:37Z</cp:lastPrinted>
  <dcterms:created xsi:type="dcterms:W3CDTF">2014-08-21T18:07:48Z</dcterms:created>
  <dcterms:modified xsi:type="dcterms:W3CDTF">2020-11-09T05:45:31Z</dcterms:modified>
</cp:coreProperties>
</file>